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9</c:f>
              <c:numCache>
                <c:formatCode>m/d/yyyy</c:formatCode>
                <c:ptCount val="23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</c:numCache>
            </c:numRef>
          </c:cat>
          <c:val>
            <c:numRef>
              <c:f>Sheet1!$D$2:$D$239</c:f>
              <c:numCache>
                <c:formatCode>#,##0</c:formatCode>
                <c:ptCount val="238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4</c:v>
                </c:pt>
                <c:pt idx="138">
                  <c:v>590</c:v>
                </c:pt>
                <c:pt idx="139">
                  <c:v>588</c:v>
                </c:pt>
                <c:pt idx="140">
                  <c:v>578</c:v>
                </c:pt>
                <c:pt idx="141">
                  <c:v>560</c:v>
                </c:pt>
                <c:pt idx="142">
                  <c:v>554</c:v>
                </c:pt>
                <c:pt idx="143">
                  <c:v>539</c:v>
                </c:pt>
                <c:pt idx="144">
                  <c:v>536</c:v>
                </c:pt>
                <c:pt idx="145">
                  <c:v>539</c:v>
                </c:pt>
                <c:pt idx="146">
                  <c:v>539</c:v>
                </c:pt>
                <c:pt idx="147">
                  <c:v>548</c:v>
                </c:pt>
                <c:pt idx="148">
                  <c:v>548</c:v>
                </c:pt>
                <c:pt idx="149">
                  <c:v>544</c:v>
                </c:pt>
                <c:pt idx="150">
                  <c:v>515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29</c:v>
                </c:pt>
                <c:pt idx="178">
                  <c:v>721</c:v>
                </c:pt>
                <c:pt idx="179">
                  <c:v>714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6</c:v>
                </c:pt>
                <c:pt idx="185">
                  <c:v>841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9</c:v>
                </c:pt>
                <c:pt idx="190">
                  <c:v>917</c:v>
                </c:pt>
                <c:pt idx="191">
                  <c:v>918</c:v>
                </c:pt>
                <c:pt idx="192">
                  <c:v>928</c:v>
                </c:pt>
                <c:pt idx="193">
                  <c:v>911</c:v>
                </c:pt>
                <c:pt idx="194">
                  <c:v>937</c:v>
                </c:pt>
                <c:pt idx="195">
                  <c:v>942</c:v>
                </c:pt>
                <c:pt idx="196">
                  <c:v>927</c:v>
                </c:pt>
                <c:pt idx="197">
                  <c:v>926</c:v>
                </c:pt>
                <c:pt idx="198">
                  <c:v>952</c:v>
                </c:pt>
                <c:pt idx="199">
                  <c:v>944</c:v>
                </c:pt>
                <c:pt idx="200">
                  <c:v>939</c:v>
                </c:pt>
                <c:pt idx="201">
                  <c:v>934</c:v>
                </c:pt>
                <c:pt idx="202">
                  <c:v>973</c:v>
                </c:pt>
                <c:pt idx="203">
                  <c:v>932</c:v>
                </c:pt>
                <c:pt idx="204">
                  <c:v>924</c:v>
                </c:pt>
                <c:pt idx="207">
                  <c:v>880</c:v>
                </c:pt>
                <c:pt idx="208">
                  <c:v>864</c:v>
                </c:pt>
                <c:pt idx="209">
                  <c:v>868</c:v>
                </c:pt>
                <c:pt idx="210">
                  <c:v>842</c:v>
                </c:pt>
                <c:pt idx="211">
                  <c:v>814</c:v>
                </c:pt>
                <c:pt idx="212">
                  <c:v>793</c:v>
                </c:pt>
                <c:pt idx="213">
                  <c:v>765</c:v>
                </c:pt>
                <c:pt idx="214">
                  <c:v>727</c:v>
                </c:pt>
                <c:pt idx="215">
                  <c:v>716</c:v>
                </c:pt>
                <c:pt idx="216">
                  <c:v>711</c:v>
                </c:pt>
                <c:pt idx="217">
                  <c:v>734</c:v>
                </c:pt>
                <c:pt idx="218">
                  <c:v>709</c:v>
                </c:pt>
                <c:pt idx="219">
                  <c:v>675</c:v>
                </c:pt>
                <c:pt idx="220">
                  <c:v>632</c:v>
                </c:pt>
                <c:pt idx="221">
                  <c:v>609</c:v>
                </c:pt>
                <c:pt idx="222">
                  <c:v>610</c:v>
                </c:pt>
                <c:pt idx="223">
                  <c:v>601</c:v>
                </c:pt>
                <c:pt idx="224">
                  <c:v>579</c:v>
                </c:pt>
                <c:pt idx="225">
                  <c:v>546</c:v>
                </c:pt>
                <c:pt idx="226">
                  <c:v>528</c:v>
                </c:pt>
                <c:pt idx="227">
                  <c:v>522</c:v>
                </c:pt>
                <c:pt idx="228">
                  <c:v>494</c:v>
                </c:pt>
                <c:pt idx="229">
                  <c:v>500</c:v>
                </c:pt>
                <c:pt idx="230">
                  <c:v>497</c:v>
                </c:pt>
                <c:pt idx="231">
                  <c:v>481</c:v>
                </c:pt>
                <c:pt idx="232">
                  <c:v>470</c:v>
                </c:pt>
                <c:pt idx="233">
                  <c:v>411</c:v>
                </c:pt>
                <c:pt idx="234">
                  <c:v>394</c:v>
                </c:pt>
                <c:pt idx="235">
                  <c:v>369</c:v>
                </c:pt>
                <c:pt idx="236">
                  <c:v>363</c:v>
                </c:pt>
                <c:pt idx="237">
                  <c:v>3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30"/>
              <c:layout>
                <c:manualLayout>
                  <c:x val="-8.6341035191621739E-3"/>
                  <c:y val="-9.073629061228238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0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9</c:f>
              <c:numCache>
                <c:formatCode>m/d/yyyy</c:formatCode>
                <c:ptCount val="23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</c:numCache>
            </c:numRef>
          </c:cat>
          <c:val>
            <c:numRef>
              <c:f>Sheet1!$B$2:$B$239</c:f>
              <c:numCache>
                <c:formatCode>#,##0</c:formatCode>
                <c:ptCount val="238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9</c:f>
              <c:numCache>
                <c:formatCode>m/d/yyyy</c:formatCode>
                <c:ptCount val="23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</c:numCache>
            </c:numRef>
          </c:cat>
          <c:val>
            <c:numRef>
              <c:f>Sheet1!$C$2:$C$239</c:f>
              <c:numCache>
                <c:formatCode>#,##0</c:formatCode>
                <c:ptCount val="23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9</c:f>
              <c:numCache>
                <c:formatCode>m/d/yyyy</c:formatCode>
                <c:ptCount val="23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</c:numCache>
            </c:numRef>
          </c:cat>
          <c:val>
            <c:numRef>
              <c:f>Sheet1!$D$2:$D$239</c:f>
              <c:numCache>
                <c:formatCode>#,##0</c:formatCode>
                <c:ptCount val="238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5</c:v>
                </c:pt>
                <c:pt idx="128">
                  <c:v>3078</c:v>
                </c:pt>
                <c:pt idx="129">
                  <c:v>2936</c:v>
                </c:pt>
                <c:pt idx="130">
                  <c:v>2967</c:v>
                </c:pt>
                <c:pt idx="131">
                  <c:v>2974</c:v>
                </c:pt>
                <c:pt idx="132">
                  <c:v>2978</c:v>
                </c:pt>
                <c:pt idx="133">
                  <c:v>3046</c:v>
                </c:pt>
                <c:pt idx="134">
                  <c:v>2967</c:v>
                </c:pt>
                <c:pt idx="135">
                  <c:v>2927</c:v>
                </c:pt>
                <c:pt idx="136">
                  <c:v>2874</c:v>
                </c:pt>
                <c:pt idx="137">
                  <c:v>2759</c:v>
                </c:pt>
                <c:pt idx="138">
                  <c:v>2746</c:v>
                </c:pt>
                <c:pt idx="139">
                  <c:v>2703</c:v>
                </c:pt>
                <c:pt idx="140">
                  <c:v>2641</c:v>
                </c:pt>
                <c:pt idx="141">
                  <c:v>2596</c:v>
                </c:pt>
                <c:pt idx="142">
                  <c:v>2589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2</c:v>
                </c:pt>
                <c:pt idx="161">
                  <c:v>2489</c:v>
                </c:pt>
                <c:pt idx="162">
                  <c:v>2419</c:v>
                </c:pt>
                <c:pt idx="163">
                  <c:v>2453</c:v>
                </c:pt>
                <c:pt idx="164">
                  <c:v>2404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29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7</c:v>
                </c:pt>
                <c:pt idx="184">
                  <c:v>3680</c:v>
                </c:pt>
                <c:pt idx="185">
                  <c:v>3707</c:v>
                </c:pt>
                <c:pt idx="186">
                  <c:v>3787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5</c:v>
                </c:pt>
                <c:pt idx="198">
                  <c:v>3996</c:v>
                </c:pt>
                <c:pt idx="199">
                  <c:v>3793</c:v>
                </c:pt>
                <c:pt idx="200">
                  <c:v>3719</c:v>
                </c:pt>
                <c:pt idx="201">
                  <c:v>3796</c:v>
                </c:pt>
                <c:pt idx="202">
                  <c:v>3813</c:v>
                </c:pt>
                <c:pt idx="203">
                  <c:v>3683</c:v>
                </c:pt>
                <c:pt idx="204">
                  <c:v>3540</c:v>
                </c:pt>
                <c:pt idx="207">
                  <c:v>3354</c:v>
                </c:pt>
                <c:pt idx="208">
                  <c:v>3383</c:v>
                </c:pt>
                <c:pt idx="209">
                  <c:v>3354</c:v>
                </c:pt>
                <c:pt idx="210">
                  <c:v>3279</c:v>
                </c:pt>
                <c:pt idx="211">
                  <c:v>3144</c:v>
                </c:pt>
                <c:pt idx="212">
                  <c:v>2995</c:v>
                </c:pt>
                <c:pt idx="213">
                  <c:v>2812</c:v>
                </c:pt>
                <c:pt idx="214">
                  <c:v>2769</c:v>
                </c:pt>
                <c:pt idx="215">
                  <c:v>2829</c:v>
                </c:pt>
                <c:pt idx="216">
                  <c:v>2844</c:v>
                </c:pt>
                <c:pt idx="217">
                  <c:v>3044</c:v>
                </c:pt>
                <c:pt idx="218">
                  <c:v>2865</c:v>
                </c:pt>
                <c:pt idx="219">
                  <c:v>2688</c:v>
                </c:pt>
                <c:pt idx="220">
                  <c:v>2415</c:v>
                </c:pt>
                <c:pt idx="221">
                  <c:v>2321</c:v>
                </c:pt>
                <c:pt idx="222">
                  <c:v>2338</c:v>
                </c:pt>
                <c:pt idx="223">
                  <c:v>2332</c:v>
                </c:pt>
                <c:pt idx="224">
                  <c:v>2239</c:v>
                </c:pt>
                <c:pt idx="225">
                  <c:v>2109</c:v>
                </c:pt>
                <c:pt idx="226">
                  <c:v>1933</c:v>
                </c:pt>
                <c:pt idx="227">
                  <c:v>1786</c:v>
                </c:pt>
                <c:pt idx="228">
                  <c:v>1750</c:v>
                </c:pt>
                <c:pt idx="229">
                  <c:v>1758</c:v>
                </c:pt>
                <c:pt idx="230">
                  <c:v>1810</c:v>
                </c:pt>
                <c:pt idx="231">
                  <c:v>1704</c:v>
                </c:pt>
                <c:pt idx="232">
                  <c:v>1615</c:v>
                </c:pt>
                <c:pt idx="233">
                  <c:v>1530</c:v>
                </c:pt>
                <c:pt idx="234">
                  <c:v>1432</c:v>
                </c:pt>
                <c:pt idx="235">
                  <c:v>1347</c:v>
                </c:pt>
                <c:pt idx="236">
                  <c:v>1353</c:v>
                </c:pt>
                <c:pt idx="237">
                  <c:v>12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0"/>
              <c:layout>
                <c:manualLayout>
                  <c:x val="-1.2878628343815882E-2"/>
                  <c:y val="-4.939628336282259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69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9</c:f>
              <c:numCache>
                <c:formatCode>m/d/yyyy</c:formatCode>
                <c:ptCount val="23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</c:numCache>
            </c:numRef>
          </c:cat>
          <c:val>
            <c:numRef>
              <c:f>Sheet1!$B$2:$B$239</c:f>
              <c:numCache>
                <c:formatCode>#,##0</c:formatCode>
                <c:ptCount val="238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9</c:f>
              <c:numCache>
                <c:formatCode>m/d/yyyy</c:formatCode>
                <c:ptCount val="23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</c:numCache>
            </c:numRef>
          </c:cat>
          <c:val>
            <c:numRef>
              <c:f>Sheet1!$C$2:$C$239</c:f>
              <c:numCache>
                <c:formatCode>#,##0</c:formatCode>
                <c:ptCount val="23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9</c:f>
              <c:numCache>
                <c:formatCode>m/d/yyyy</c:formatCode>
                <c:ptCount val="23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</c:numCache>
            </c:numRef>
          </c:cat>
          <c:val>
            <c:numRef>
              <c:f>Sheet1!$D$2:$D$239</c:f>
              <c:numCache>
                <c:formatCode>#,##0</c:formatCode>
                <c:ptCount val="23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6</c:v>
                </c:pt>
                <c:pt idx="226">
                  <c:v>17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1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20</c:v>
                </c:pt>
                <c:pt idx="235">
                  <c:v>18</c:v>
                </c:pt>
                <c:pt idx="236">
                  <c:v>16</c:v>
                </c:pt>
                <c:pt idx="237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30"/>
              <c:layout>
                <c:manualLayout>
                  <c:x val="-1.0886804832506937E-2"/>
                  <c:y val="-3.592456971841647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9</c:f>
              <c:numCache>
                <c:formatCode>m/d/yyyy</c:formatCode>
                <c:ptCount val="23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</c:numCache>
            </c:numRef>
          </c:cat>
          <c:val>
            <c:numRef>
              <c:f>Sheet1!$B$2:$B$239</c:f>
              <c:numCache>
                <c:formatCode>#,##0</c:formatCode>
                <c:ptCount val="238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9</c:f>
              <c:numCache>
                <c:formatCode>m/d/yyyy</c:formatCode>
                <c:ptCount val="23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</c:numCache>
            </c:numRef>
          </c:cat>
          <c:val>
            <c:numRef>
              <c:f>Sheet1!$C$2:$C$239</c:f>
              <c:numCache>
                <c:formatCode>#,##0</c:formatCode>
                <c:ptCount val="23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9</c:f>
              <c:numCache>
                <c:formatCode>m/d/yyyy</c:formatCode>
                <c:ptCount val="23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</c:numCache>
            </c:numRef>
          </c:cat>
          <c:val>
            <c:numRef>
              <c:f>Sheet1!$D$2:$D$239</c:f>
              <c:numCache>
                <c:formatCode>#,##0</c:formatCode>
                <c:ptCount val="238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8</c:v>
                </c:pt>
                <c:pt idx="138">
                  <c:v>1129</c:v>
                </c:pt>
                <c:pt idx="139">
                  <c:v>1154</c:v>
                </c:pt>
                <c:pt idx="140">
                  <c:v>1135</c:v>
                </c:pt>
                <c:pt idx="141">
                  <c:v>1111</c:v>
                </c:pt>
                <c:pt idx="142">
                  <c:v>1105</c:v>
                </c:pt>
                <c:pt idx="143">
                  <c:v>1109</c:v>
                </c:pt>
                <c:pt idx="144">
                  <c:v>1091</c:v>
                </c:pt>
                <c:pt idx="145">
                  <c:v>1057</c:v>
                </c:pt>
                <c:pt idx="146">
                  <c:v>1079</c:v>
                </c:pt>
                <c:pt idx="147">
                  <c:v>1046</c:v>
                </c:pt>
                <c:pt idx="148">
                  <c:v>1037</c:v>
                </c:pt>
                <c:pt idx="149">
                  <c:v>1018</c:v>
                </c:pt>
                <c:pt idx="150">
                  <c:v>1018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3</c:v>
                </c:pt>
                <c:pt idx="157">
                  <c:v>1089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3</c:v>
                </c:pt>
                <c:pt idx="178">
                  <c:v>1438</c:v>
                </c:pt>
                <c:pt idx="179">
                  <c:v>1465</c:v>
                </c:pt>
                <c:pt idx="180">
                  <c:v>1502</c:v>
                </c:pt>
                <c:pt idx="181">
                  <c:v>1585</c:v>
                </c:pt>
                <c:pt idx="182">
                  <c:v>1597</c:v>
                </c:pt>
                <c:pt idx="183">
                  <c:v>1624</c:v>
                </c:pt>
                <c:pt idx="184">
                  <c:v>1650</c:v>
                </c:pt>
                <c:pt idx="185">
                  <c:v>1670</c:v>
                </c:pt>
                <c:pt idx="186">
                  <c:v>1674</c:v>
                </c:pt>
                <c:pt idx="187">
                  <c:v>1676</c:v>
                </c:pt>
                <c:pt idx="188">
                  <c:v>1772</c:v>
                </c:pt>
                <c:pt idx="189">
                  <c:v>1802</c:v>
                </c:pt>
                <c:pt idx="190">
                  <c:v>1832</c:v>
                </c:pt>
                <c:pt idx="191">
                  <c:v>1821</c:v>
                </c:pt>
                <c:pt idx="192">
                  <c:v>1833</c:v>
                </c:pt>
                <c:pt idx="193">
                  <c:v>1781</c:v>
                </c:pt>
                <c:pt idx="194">
                  <c:v>1828</c:v>
                </c:pt>
                <c:pt idx="195">
                  <c:v>1885</c:v>
                </c:pt>
                <c:pt idx="196">
                  <c:v>1892</c:v>
                </c:pt>
                <c:pt idx="197">
                  <c:v>1861</c:v>
                </c:pt>
                <c:pt idx="198">
                  <c:v>1860</c:v>
                </c:pt>
                <c:pt idx="199">
                  <c:v>1820</c:v>
                </c:pt>
                <c:pt idx="200">
                  <c:v>1781</c:v>
                </c:pt>
                <c:pt idx="201">
                  <c:v>1805</c:v>
                </c:pt>
                <c:pt idx="202">
                  <c:v>1825</c:v>
                </c:pt>
                <c:pt idx="203">
                  <c:v>1777</c:v>
                </c:pt>
                <c:pt idx="204">
                  <c:v>1746</c:v>
                </c:pt>
                <c:pt idx="207">
                  <c:v>1646</c:v>
                </c:pt>
                <c:pt idx="208">
                  <c:v>1656</c:v>
                </c:pt>
                <c:pt idx="209">
                  <c:v>1666</c:v>
                </c:pt>
                <c:pt idx="210">
                  <c:v>1616</c:v>
                </c:pt>
                <c:pt idx="211">
                  <c:v>1558</c:v>
                </c:pt>
                <c:pt idx="212">
                  <c:v>1511</c:v>
                </c:pt>
                <c:pt idx="213">
                  <c:v>1429</c:v>
                </c:pt>
                <c:pt idx="214">
                  <c:v>1403</c:v>
                </c:pt>
                <c:pt idx="215">
                  <c:v>1383</c:v>
                </c:pt>
                <c:pt idx="216">
                  <c:v>1349</c:v>
                </c:pt>
                <c:pt idx="217">
                  <c:v>1399</c:v>
                </c:pt>
                <c:pt idx="218">
                  <c:v>1366</c:v>
                </c:pt>
                <c:pt idx="219">
                  <c:v>1318</c:v>
                </c:pt>
                <c:pt idx="220">
                  <c:v>1240</c:v>
                </c:pt>
                <c:pt idx="221">
                  <c:v>1224</c:v>
                </c:pt>
                <c:pt idx="222">
                  <c:v>1207</c:v>
                </c:pt>
                <c:pt idx="223">
                  <c:v>1193</c:v>
                </c:pt>
                <c:pt idx="224">
                  <c:v>1167</c:v>
                </c:pt>
                <c:pt idx="225">
                  <c:v>1123</c:v>
                </c:pt>
                <c:pt idx="226">
                  <c:v>1045</c:v>
                </c:pt>
                <c:pt idx="227">
                  <c:v>1024</c:v>
                </c:pt>
                <c:pt idx="228">
                  <c:v>982</c:v>
                </c:pt>
                <c:pt idx="229">
                  <c:v>985</c:v>
                </c:pt>
                <c:pt idx="230">
                  <c:v>1003</c:v>
                </c:pt>
                <c:pt idx="231">
                  <c:v>952</c:v>
                </c:pt>
                <c:pt idx="232">
                  <c:v>918</c:v>
                </c:pt>
                <c:pt idx="233">
                  <c:v>834</c:v>
                </c:pt>
                <c:pt idx="234">
                  <c:v>788</c:v>
                </c:pt>
                <c:pt idx="235">
                  <c:v>748</c:v>
                </c:pt>
                <c:pt idx="236">
                  <c:v>759</c:v>
                </c:pt>
                <c:pt idx="237">
                  <c:v>7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1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202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30"/>
              <c:layout>
                <c:manualLayout>
                  <c:x val="-3.0219362317067216E-2"/>
                  <c:y val="-8.778390262694020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49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9</c:f>
              <c:numCache>
                <c:formatCode>m/d/yyyy</c:formatCode>
                <c:ptCount val="23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</c:numCache>
            </c:numRef>
          </c:cat>
          <c:val>
            <c:numRef>
              <c:f>Sheet1!$B$2:$B$239</c:f>
              <c:numCache>
                <c:formatCode>#,##0</c:formatCode>
                <c:ptCount val="238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9</c:f>
              <c:numCache>
                <c:formatCode>m/d/yyyy</c:formatCode>
                <c:ptCount val="23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</c:numCache>
            </c:numRef>
          </c:cat>
          <c:val>
            <c:numRef>
              <c:f>Sheet1!$C$2:$C$239</c:f>
              <c:numCache>
                <c:formatCode>#,##0</c:formatCode>
                <c:ptCount val="23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7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7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7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4.xml"/><Relationship Id="rId5" Type="http://schemas.openxmlformats.org/officeDocument/2006/relationships/tags" Target="../tags/tag7.xml"/><Relationship Id="rId10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7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32357747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52038316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26230443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64380586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419181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6652840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79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626</cp:revision>
  <dcterms:created xsi:type="dcterms:W3CDTF">2020-08-08T14:25:07Z</dcterms:created>
  <dcterms:modified xsi:type="dcterms:W3CDTF">2021-04-27T03:13:10Z</dcterms:modified>
</cp:coreProperties>
</file>